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50" r:id="rId1"/>
  </p:sldMasterIdLst>
  <p:notesMasterIdLst>
    <p:notesMasterId r:id="rId13"/>
  </p:notesMasterIdLst>
  <p:sldIdLst>
    <p:sldId id="258" r:id="rId2"/>
    <p:sldId id="261" r:id="rId3"/>
    <p:sldId id="282" r:id="rId4"/>
    <p:sldId id="279" r:id="rId5"/>
    <p:sldId id="277" r:id="rId6"/>
    <p:sldId id="278" r:id="rId7"/>
    <p:sldId id="272" r:id="rId8"/>
    <p:sldId id="281" r:id="rId9"/>
    <p:sldId id="275" r:id="rId10"/>
    <p:sldId id="283" r:id="rId11"/>
    <p:sldId id="269" r:id="rId12"/>
  </p:sldIdLst>
  <p:sldSz cx="12192000" cy="6858000"/>
  <p:notesSz cx="6858000" cy="9144000"/>
  <p:embeddedFontLst>
    <p:embeddedFont>
      <p:font typeface="Calibri" panose="020F0502020204030204" pitchFamily="34" charset="0"/>
      <p:regular r:id="rId14"/>
      <p:bold r:id="rId15"/>
      <p:italic r:id="rId16"/>
      <p:boldItalic r:id="rId17"/>
    </p:embeddedFont>
    <p:embeddedFont>
      <p:font typeface="Trebuchet MS" panose="020B0603020202020204" pitchFamily="34" charset="0"/>
      <p:regular r:id="rId18"/>
      <p:bold r:id="rId19"/>
      <p:italic r:id="rId20"/>
      <p:boldItalic r:id="rId21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141" userDrawn="1">
          <p15:clr>
            <a:srgbClr val="A4A3A4"/>
          </p15:clr>
        </p15:guide>
        <p15:guide id="2" orient="horz" pos="48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5AEA"/>
    <a:srgbClr val="3399FF"/>
    <a:srgbClr val="34E7B5"/>
    <a:srgbClr val="2424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9891" autoAdjust="0"/>
    <p:restoredTop sz="94674"/>
  </p:normalViewPr>
  <p:slideViewPr>
    <p:cSldViewPr snapToGrid="0" snapToObjects="1">
      <p:cViewPr varScale="1">
        <p:scale>
          <a:sx n="101" d="100"/>
          <a:sy n="101" d="100"/>
        </p:scale>
        <p:origin x="138" y="342"/>
      </p:cViewPr>
      <p:guideLst>
        <p:guide pos="1141"/>
        <p:guide orient="horz" pos="48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4.fntdata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8067A4-4A9E-49FD-8DAB-FA1255427B79}" type="datetimeFigureOut">
              <a:rPr lang="ru-RU" smtClean="0"/>
              <a:t>05.1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8F9564-6D83-497F-A0A6-C1411EAACEC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75571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Синий">
    <p:bg>
      <p:bgPr>
        <a:solidFill>
          <a:srgbClr val="505A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E3ACCEA-102A-4B47-8BAD-E97080CBBA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865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8FF239D-64CB-D74D-B952-851537ED8D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4519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Зелё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1F9B2D8-1EE7-C44E-AE2B-B3313C068E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505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B6DE9E8-6580-874F-B839-2AC4713F82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29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Градиентн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B6DE9E8-6580-874F-B839-2AC4713F82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104900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967FADA-9199-F74A-95BC-035DDE73B5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4900" y="0"/>
            <a:ext cx="110998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2845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775384" y="622801"/>
            <a:ext cx="1064270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20190424_2000 Meeting with ARB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042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738831" y="6405036"/>
            <a:ext cx="127163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53104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00711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Calibri" panose="020F0502020204030204" pitchFamily="34" charset="0"/>
                <a:sym typeface="Trebuchet MS" panose="020B0603020202020204" pitchFamily="34" charset="0"/>
              </a:rPr>
              <a:t>20190424_2000 Meeting with ARB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635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8260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1" r:id="rId2"/>
    <p:sldLayoutId id="2147483655" r:id="rId3"/>
    <p:sldLayoutId id="2147483656" r:id="rId4"/>
    <p:sldLayoutId id="2147483657" r:id="rId5"/>
    <p:sldLayoutId id="2147483659" r:id="rId6"/>
    <p:sldLayoutId id="2147483660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2417931"/>
            <a:ext cx="10483850" cy="729565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000" b="1" dirty="0">
                <a:solidFill>
                  <a:schemeClr val="bg1"/>
                </a:solidFill>
                <a:latin typeface="Arial" panose="020B0604020202020204" pitchFamily="34" charset="0"/>
              </a:rPr>
              <a:t>Классификатор цифрового контента учреждений культуры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endParaRPr lang="ru-RU" sz="2000" b="1" dirty="0" smtClean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7A1A39F-C528-FC49-821E-CD9F5D753B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82989" y="275837"/>
            <a:ext cx="1218829" cy="563759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02AEAF9-A90F-6945-B591-0A92322811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41156" y="202857"/>
            <a:ext cx="1523338" cy="636739"/>
          </a:xfrm>
          <a:prstGeom prst="rect">
            <a:avLst/>
          </a:prstGeom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3332522"/>
            <a:ext cx="10483850" cy="1389522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000" b="1" dirty="0">
                <a:solidFill>
                  <a:schemeClr val="bg1"/>
                </a:solidFill>
                <a:latin typeface="Arial" panose="020B0604020202020204" pitchFamily="34" charset="0"/>
              </a:rPr>
              <a:t>Пермский край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4247112"/>
            <a:ext cx="10483850" cy="1389522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</a:rPr>
              <a:t>Пермский край: </a:t>
            </a: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Дружинин Александр, Метелев Владимир, Мухин Егор, </a:t>
            </a:r>
            <a:r>
              <a:rPr lang="ru-RU" sz="2000" b="1" dirty="0" err="1" smtClean="0">
                <a:solidFill>
                  <a:schemeClr val="bg1"/>
                </a:solidFill>
                <a:latin typeface="Arial" panose="020B0604020202020204" pitchFamily="34" charset="0"/>
              </a:rPr>
              <a:t>Коневских</a:t>
            </a:r>
            <a:r>
              <a:rPr lang="ru-RU" sz="2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 Олег </a:t>
            </a:r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</a:rPr>
              <a:t>ISKRA ONE: </a:t>
            </a:r>
            <a:r>
              <a:rPr lang="ru-RU" sz="2000" b="1" dirty="0" err="1">
                <a:solidFill>
                  <a:schemeClr val="bg1"/>
                </a:solidFill>
                <a:latin typeface="Arial" panose="020B0604020202020204" pitchFamily="34" charset="0"/>
              </a:rPr>
              <a:t>Ватолин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</a:rPr>
              <a:t> Алексей, Малков Алексей, Максим Паньшин, </a:t>
            </a:r>
            <a:r>
              <a:rPr lang="ru-RU" sz="2000" b="1" dirty="0" err="1">
                <a:solidFill>
                  <a:schemeClr val="bg1"/>
                </a:solidFill>
                <a:latin typeface="Arial" panose="020B0604020202020204" pitchFamily="34" charset="0"/>
              </a:rPr>
              <a:t>Патракова</a:t>
            </a:r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</a:rPr>
              <a:t> Екатерина, Уфимцев Юрий </a:t>
            </a: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DF8C999-0236-084A-AA3D-0A38C7D7395A}"/>
              </a:ext>
            </a:extLst>
          </p:cNvPr>
          <p:cNvSpPr txBox="1">
            <a:spLocks/>
          </p:cNvSpPr>
          <p:nvPr/>
        </p:nvSpPr>
        <p:spPr>
          <a:xfrm>
            <a:off x="1581619" y="1361693"/>
            <a:ext cx="10483850" cy="728862"/>
          </a:xfrm>
          <a:prstGeom prst="rect">
            <a:avLst/>
          </a:prstGeom>
        </p:spPr>
        <p:txBody>
          <a:bodyPr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Паспорт решения</a:t>
            </a:r>
          </a:p>
          <a:p>
            <a:endParaRPr lang="ru-RU" sz="2000" b="1" dirty="0" smtClean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  <a:p>
            <a:endParaRPr lang="ru-RU" sz="20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43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186609" y="1179588"/>
            <a:ext cx="8706678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Контакты </a:t>
            </a:r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команды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скра - добавить</a:t>
            </a:r>
            <a:endParaRPr lang="en-US" sz="20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ружинин </a:t>
            </a: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. Г. (начальник отдела ГБУ ПК «Центр информационного развития ПК</a:t>
            </a: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), Пермский край, тел. +7-951-920-03-03, </a:t>
            </a:r>
            <a:r>
              <a:rPr lang="en-US" sz="20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mail:agdruzhinin@it.permkrai.ru</a:t>
            </a:r>
            <a:endParaRPr lang="ru-RU" sz="20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endParaRPr lang="ru-RU" sz="20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23478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C29D85A-7961-1E4F-BA70-89C180D63C8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981" t="20765" r="14845" b="17814"/>
          <a:stretch/>
        </p:blipFill>
        <p:spPr>
          <a:xfrm>
            <a:off x="1494019" y="614598"/>
            <a:ext cx="10088912" cy="54414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492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11338" y="788353"/>
            <a:ext cx="925483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лассификатор цифрового контента учреждений культуры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811338" y="3070211"/>
            <a:ext cx="9254836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5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здание </a:t>
            </a:r>
            <a:r>
              <a:rPr lang="ru-RU" sz="25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виса, осуществляющего предварительную </a:t>
            </a:r>
            <a:r>
              <a:rPr lang="ru-RU" sz="25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рацию</a:t>
            </a:r>
            <a:r>
              <a:rPr lang="ru-RU" sz="25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анонсов мероприятий организаций культуры, спорта и туризма </a:t>
            </a:r>
            <a:r>
              <a:rPr lang="ru-RU" sz="25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 использование нейронных </a:t>
            </a:r>
            <a:r>
              <a:rPr lang="ru-RU" sz="25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тей </a:t>
            </a:r>
            <a:r>
              <a:rPr lang="ru-RU" sz="25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 алгоритмов </a:t>
            </a:r>
            <a:r>
              <a:rPr lang="ru-RU" sz="25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мпьютерного зрения </a:t>
            </a:r>
            <a:r>
              <a:rPr lang="ru-RU" sz="25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25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3600" dirty="0" smtClean="0">
              <a:latin typeface="Trebuchet MS" panose="020B0603020202020204" pitchFamily="34" charset="0"/>
              <a:cs typeface="Calibri" panose="020F050202020403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811338" y="2034848"/>
            <a:ext cx="925483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рмский край</a:t>
            </a:r>
          </a:p>
        </p:txBody>
      </p:sp>
    </p:spTree>
    <p:extLst>
      <p:ext uri="{BB962C8B-B14F-4D97-AF65-F5344CB8AC3E}">
        <p14:creationId xmlns:p14="http://schemas.microsoft.com/office/powerpoint/2010/main" val="842372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11338" y="765175"/>
            <a:ext cx="10075862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етали </a:t>
            </a:r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 команде, реализовавшей решение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ружинин 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. 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. (начальник отдела ГБУ ПК «Центр информационного развития ПК»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телев В.В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зам. 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иректора по 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нформатизации 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КБУК «ПГКУБ им. А. М. Горького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ухин 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. А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(Коммерческий директор ГКБУК «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рмский академический 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атр-Театр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err="1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невских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лег (пресс-</a:t>
            </a:r>
            <a:r>
              <a:rPr lang="ru-RU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таше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ХК «Молот-</a:t>
            </a:r>
            <a:r>
              <a:rPr lang="ru-RU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камье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)</a:t>
            </a:r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исок реципиентов: </a:t>
            </a:r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реждения 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ультуры</a:t>
            </a:r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реждения, проводящие спортивные мероприятия</a:t>
            </a:r>
          </a:p>
          <a:p>
            <a:endParaRPr lang="ru-RU" sz="20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исок акцепторов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есников А. В. (заместитель министра </a:t>
            </a: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ультуры Пермского </a:t>
            </a: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ая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аслов А. Н</a:t>
            </a: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первый </a:t>
            </a: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меститель министра информационного развития и связи Пермского </a:t>
            </a: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ая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олчин С.В</a:t>
            </a: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(CDO </a:t>
            </a: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сферах образования, культуры и спорта)</a:t>
            </a:r>
            <a:endParaRPr lang="ru-RU" sz="14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01539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11338" y="765175"/>
            <a:ext cx="9254836" cy="61401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шаемые проблемы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</a:t>
            </a:r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ысокая загрузка модераторов, осуществляющих проверку соответствия анонса мероприятий установленным требованиям к описанию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сутствие оперативной обратной связи при отправке анонса на </a:t>
            </a:r>
            <a:r>
              <a:rPr lang="ru-RU" sz="2400" dirty="0" err="1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рацию</a:t>
            </a:r>
            <a:endParaRPr lang="ru-RU" sz="24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сутствие единых требований к анонсам мероприятий</a:t>
            </a:r>
          </a:p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шаемые</a:t>
            </a:r>
            <a:r>
              <a:rPr lang="ru-RU" sz="28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задачи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нижение </a:t>
            </a: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грузки на модераторов анонсов </a:t>
            </a:r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роприятий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мизация человеческого фактора при </a:t>
            </a:r>
            <a:r>
              <a:rPr lang="ru-RU" sz="2400" dirty="0" err="1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рации</a:t>
            </a:r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анонс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вышение культуры формирования анонса при отправке на </a:t>
            </a:r>
            <a:r>
              <a:rPr lang="ru-RU" sz="2400" dirty="0" err="1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рацию</a:t>
            </a:r>
            <a:endParaRPr lang="ru-RU" sz="24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25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11338" y="4800599"/>
            <a:ext cx="886618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2048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692068" y="407367"/>
            <a:ext cx="9254836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исание решения</a:t>
            </a:r>
          </a:p>
          <a:p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шение представляет собой </a:t>
            </a:r>
            <a:r>
              <a:rPr lang="ru-RU" sz="2400" dirty="0" err="1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эб</a:t>
            </a:r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сервис, который получает </a:t>
            </a: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 входе сообщение в </a:t>
            </a:r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SON-формате, соответствующий </a:t>
            </a: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андарту обмена сообщениями на сайте </a:t>
            </a:r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.culture.ru. </a:t>
            </a:r>
          </a:p>
          <a:p>
            <a:endParaRPr lang="ru-RU" sz="24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SON </a:t>
            </a: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держит </a:t>
            </a:r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5 </a:t>
            </a: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трибутов с параметрами проводимого события</a:t>
            </a:r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  <a:p>
            <a:endParaRPr lang="ru-RU" sz="24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2400" dirty="0" err="1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эб</a:t>
            </a:r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сервис </a:t>
            </a: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рабатывает полученный JSON-Файл, анализирует атрибуты через набор имеющихся правил и моделей и </a:t>
            </a:r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озвращает </a:t>
            </a: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вет в виде другого файла JSON с </a:t>
            </a:r>
            <a:r>
              <a:rPr lang="ru-RU" sz="24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ультилейбловой</a:t>
            </a:r>
            <a:r>
              <a:rPr lang="ru-RU" sz="24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зметкой</a:t>
            </a:r>
          </a:p>
        </p:txBody>
      </p:sp>
    </p:spTree>
    <p:extLst>
      <p:ext uri="{BB962C8B-B14F-4D97-AF65-F5344CB8AC3E}">
        <p14:creationId xmlns:p14="http://schemas.microsoft.com/office/powerpoint/2010/main" val="1145207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702422" y="475251"/>
            <a:ext cx="9752012" cy="609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лючевые этапы внедрения и контрольные точки</a:t>
            </a:r>
          </a:p>
          <a:p>
            <a:pPr marL="457200" indent="-457200">
              <a:buAutoNum type="arabicPeriod"/>
            </a:pP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вершение тестирования 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виса</a:t>
            </a:r>
            <a:r>
              <a:rPr lang="en-US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лассификации - завершено</a:t>
            </a:r>
            <a:endParaRPr lang="ru-RU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57200" indent="-457200">
              <a:buAutoNum type="arabicPeriod"/>
            </a:pP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зработка и внедрение ИС консолидирующей информационное пространство учреждений культуры и 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орта – 2 кв.2020</a:t>
            </a:r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57200" indent="-457200">
              <a:buFontTx/>
              <a:buAutoNum type="arabicPeriod"/>
            </a:pP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инжиниринг 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бизнес-процесса формирования и публикации  анонса мероприятия, который позволит наработать данные 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ля обучения 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лей – 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 кв.2020</a:t>
            </a:r>
            <a:endParaRPr lang="ru-RU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57200" indent="-457200">
              <a:buAutoNum type="arabicPeriod"/>
            </a:pP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ормирований требований к доработке сервиса (отдельные модели для спортивных мероприятий и анонсов для социальных сетей, понятная классификация результатов </a:t>
            </a:r>
            <a:r>
              <a:rPr lang="ru-RU" dirty="0" err="1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рации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 – 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 кв.2020</a:t>
            </a:r>
            <a:endParaRPr lang="ru-RU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57200" indent="-457200">
              <a:buAutoNum type="arabicPeriod"/>
            </a:pP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зработка, тестирование и внедрение 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виса  - 2 кв. 2020</a:t>
            </a:r>
            <a:endParaRPr lang="ru-RU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457200" indent="-457200">
              <a:buAutoNum type="arabicPeriod"/>
            </a:pP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ормирование требований и разработка 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виса 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втоматического анализа 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нтента сайтов ИОГВ  на предмет содержания ненадлежащего 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нтента</a:t>
            </a:r>
            <a:r>
              <a:rPr lang="ru-RU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– 1 кв.2020</a:t>
            </a:r>
            <a:endParaRPr lang="ru-RU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32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2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ценка ресурсов, продолжительности этапов и перечень изменяемых НПА будут сформированы на этапе формирования требований к доработке/разработке сервисов.</a:t>
            </a:r>
            <a:endParaRPr lang="ru-RU" sz="24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36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9367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18739" y="240804"/>
            <a:ext cx="9929921" cy="69249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32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лючевые </a:t>
            </a:r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казатели эффективности: </a:t>
            </a:r>
          </a:p>
          <a:p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очность моделей в необходимых разрезах должна превышать 80%. Для оценки точности модели будут использоваться методы кросс-</a:t>
            </a:r>
            <a:r>
              <a:rPr lang="ru-RU" sz="2000" dirty="0" err="1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алидации</a:t>
            </a: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/или </a:t>
            </a: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ложенной выборки в соответствии с матрицей ошибок</a:t>
            </a:r>
          </a:p>
          <a:p>
            <a:endParaRPr lang="ru-RU" sz="20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качестве бизнес эффекта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нижение числа отклоненных на этапе </a:t>
            </a:r>
            <a:r>
              <a:rPr lang="ru-RU" sz="2000" dirty="0" err="1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рации</a:t>
            </a: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анонсов мероприятий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вышение качества подготовки анонсов мероприятий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20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лияние на цели Национального проекта:</a:t>
            </a:r>
            <a:r>
              <a:rPr lang="ru-RU" sz="44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44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рамках реализации проекта ожидается увеличение посещаемости </a:t>
            </a: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рганизаций </a:t>
            </a: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ультуры ввиду более оперативной и качественной информированности населения о предстоящих мероприятиях.</a:t>
            </a:r>
          </a:p>
          <a:p>
            <a:endParaRPr lang="ru-RU" sz="32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8988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18739" y="413082"/>
            <a:ext cx="9479347" cy="643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зультаты внедрения:</a:t>
            </a:r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ведено тестирование сервиса на событиях учреждений культуры. Тестирование 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оводилось только на анонсах, которые прошли </a:t>
            </a:r>
            <a:r>
              <a:rPr lang="ru-RU" sz="1600" dirty="0" err="1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рацию</a:t>
            </a:r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Результаты:</a:t>
            </a:r>
          </a:p>
          <a:p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люсы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</a:t>
            </a:r>
          </a:p>
          <a:p>
            <a:pPr marL="714375"/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•	в отличии от ручной </a:t>
            </a:r>
            <a:r>
              <a:rPr lang="ru-RU" sz="16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рации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на портале "</a:t>
            </a:r>
            <a:r>
              <a:rPr lang="ru-RU" sz="16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ультура.РФ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", ошибки видны сразу. Это способствует повышению культуры формирования анонса при отправке на </a:t>
            </a:r>
            <a:r>
              <a:rPr lang="ru-RU" sz="1600" dirty="0" err="1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рацию</a:t>
            </a:r>
            <a:endParaRPr lang="ru-RU" sz="16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000125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кращение числа итераций модерирования позволяет уменьшить трудозатраты</a:t>
            </a:r>
          </a:p>
          <a:p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усы: </a:t>
            </a:r>
            <a:endParaRPr lang="ru-RU" sz="16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000125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кущее 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стояние не позволяет </a:t>
            </a:r>
            <a:r>
              <a:rPr lang="ru-RU" sz="1600" dirty="0" err="1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рировать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анонсы спортивных мероприятий и событий библиотек ввиду необходимости обучения модели</a:t>
            </a:r>
          </a:p>
          <a:p>
            <a:pPr marL="1000125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рирование анонсов 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ектаклей </a:t>
            </a:r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атра не всегда соответствует текущим требованиям.</a:t>
            </a:r>
          </a:p>
          <a:p>
            <a:pPr marL="1000125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сновные 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зультаты не дадут пользователю, ответ, как исправить </a:t>
            </a:r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мечания, Например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: "смысловая нагрузка" и </a:t>
            </a:r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1600" dirty="0" err="1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еинформативность</a:t>
            </a:r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  <a:endParaRPr lang="ru-RU" sz="16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дель работает, однако для внедрения решения в регионе необходимо нарабатывать собственные данные для обучения моделей, которые включают в себя анонсы учреждений культуры, спортивных мероприятий и 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</a:t>
            </a:r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ытий библиотек.</a:t>
            </a:r>
            <a:endParaRPr lang="ru-RU" sz="16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Эффекты:</a:t>
            </a:r>
          </a:p>
          <a:p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Оценка э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фекта от внедрения цифрового решения в регионе будет производиться по результатам доработки моделей</a:t>
            </a:r>
          </a:p>
          <a:p>
            <a:r>
              <a:rPr lang="ru-RU" sz="3200" dirty="0" err="1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Тиражируемость</a:t>
            </a:r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:</a:t>
            </a:r>
            <a:r>
              <a:rPr lang="ru-RU" sz="48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/>
            </a:r>
            <a:br>
              <a:rPr lang="ru-RU" sz="48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</a:br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Решение представлено в виде сервиса и имеет возможность 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тиражирования </a:t>
            </a:r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для применения в других сферах</a:t>
            </a:r>
            <a:endParaRPr lang="ru-RU" sz="16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73960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771582" y="1115649"/>
            <a:ext cx="9930088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Удобство пользователя цифрового решения:</a:t>
            </a:r>
            <a: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/>
            </a:r>
            <a:br>
              <a:rPr lang="ru-RU" sz="36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</a:b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Ввиду того, что решение </a:t>
            </a: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представлено в виде </a:t>
            </a: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сервиса, удобство </a:t>
            </a:r>
            <a:r>
              <a:rPr lang="ru-RU" sz="20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пользования </a:t>
            </a: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решением обуславливается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незаметной для пользователя интеграцией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имеет удобный и привычный интерфейс системы, с которой пользователь работает на постоянной основе</a:t>
            </a:r>
          </a:p>
          <a:p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Оперативный результат </a:t>
            </a:r>
            <a:r>
              <a:rPr lang="ru-RU" sz="2000" dirty="0" err="1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модерации</a:t>
            </a: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 позволяет сократить число итераций при формировании анонса мероприятий </a:t>
            </a:r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  <a:sym typeface="Arial"/>
            </a:endParaRPr>
          </a:p>
          <a:p>
            <a:r>
              <a:rPr lang="ru-RU" sz="32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Системность </a:t>
            </a:r>
            <a:r>
              <a:rPr lang="ru-RU" sz="3200" dirty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решения: </a:t>
            </a:r>
            <a: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/>
            </a:r>
            <a:br>
              <a:rPr lang="ru-RU" sz="36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</a:br>
            <a:r>
              <a:rPr lang="ru-RU" sz="2000" dirty="0" smtClean="0">
                <a:solidFill>
                  <a:schemeClr val="accent1"/>
                </a:solidFill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Arial"/>
              </a:rPr>
              <a:t>Архитектура решения позволяет его использовать в информационных системах Пермского края без существенных доработок этих систем. </a:t>
            </a:r>
            <a:endParaRPr lang="ru-RU" sz="20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3200" dirty="0" smtClean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3200" dirty="0">
              <a:solidFill>
                <a:schemeClr val="accent1"/>
              </a:solidFill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0441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DATAMASTERS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95</TotalTime>
  <Words>550</Words>
  <Application>Microsoft Office PowerPoint</Application>
  <PresentationFormat>Широкоэкранный</PresentationFormat>
  <Paragraphs>86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7" baseType="lpstr">
      <vt:lpstr>Calibri</vt:lpstr>
      <vt:lpstr>Arial</vt:lpstr>
      <vt:lpstr>Open Sans</vt:lpstr>
      <vt:lpstr>Trebuchet MS</vt:lpstr>
      <vt:lpstr>DATAMASTERS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crosoft Office User</dc:creator>
  <cp:lastModifiedBy>Александр Дружинин</cp:lastModifiedBy>
  <cp:revision>138</cp:revision>
  <dcterms:created xsi:type="dcterms:W3CDTF">2019-05-13T16:08:50Z</dcterms:created>
  <dcterms:modified xsi:type="dcterms:W3CDTF">2019-12-05T19:06:53Z</dcterms:modified>
</cp:coreProperties>
</file>